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13"/>
  </p:notesMasterIdLst>
  <p:handoutMasterIdLst>
    <p:handoutMasterId r:id="rId14"/>
  </p:handoutMasterIdLst>
  <p:sldIdLst>
    <p:sldId id="842" r:id="rId3"/>
    <p:sldId id="845" r:id="rId4"/>
    <p:sldId id="854" r:id="rId5"/>
    <p:sldId id="855" r:id="rId6"/>
    <p:sldId id="860" r:id="rId7"/>
    <p:sldId id="861" r:id="rId8"/>
    <p:sldId id="856" r:id="rId9"/>
    <p:sldId id="857" r:id="rId10"/>
    <p:sldId id="858" r:id="rId11"/>
    <p:sldId id="859" r:id="rId12"/>
  </p:sldIdLst>
  <p:sldSz cx="12192000" cy="6858000"/>
  <p:notesSz cx="6858000" cy="9144000"/>
  <p:embeddedFontLst>
    <p:embeddedFont>
      <p:font typeface="Montserrat" panose="020B0604020202020204" charset="-52"/>
      <p:regular r:id="rId15"/>
      <p:bold r:id="rId16"/>
      <p:italic r:id="rId17"/>
      <p:boldItalic r:id="rId18"/>
    </p:embeddedFont>
    <p:embeddedFont>
      <p:font typeface="Tahoma" panose="020B0604030504040204" pitchFamily="34" charset="0"/>
      <p:regular r:id="rId19"/>
      <p:bold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0000"/>
    <a:srgbClr val="FFFFF7"/>
    <a:srgbClr val="13A160"/>
    <a:srgbClr val="008D34"/>
    <a:srgbClr val="8FAADC"/>
    <a:srgbClr val="F7D941"/>
    <a:srgbClr val="0ED145"/>
    <a:srgbClr val="00A8F3"/>
    <a:srgbClr val="B04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06" autoAdjust="0"/>
    <p:restoredTop sz="93585" autoAdjust="0"/>
  </p:normalViewPr>
  <p:slideViewPr>
    <p:cSldViewPr snapToGrid="0">
      <p:cViewPr>
        <p:scale>
          <a:sx n="75" d="100"/>
          <a:sy n="75" d="100"/>
        </p:scale>
        <p:origin x="-2202" y="-1002"/>
      </p:cViewPr>
      <p:guideLst>
        <p:guide orient="horz" pos="2850"/>
        <p:guide orient="horz" pos="867"/>
        <p:guide orient="horz" pos="686"/>
        <p:guide orient="horz" pos="187"/>
        <p:guide orient="horz" pos="2069"/>
        <p:guide pos="1459"/>
        <p:guide pos="4770"/>
        <p:guide pos="3795"/>
        <p:guide pos="7015"/>
        <p:guide pos="3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font" Target="fonts/font7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0.fntdata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5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26.11.2020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26.11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f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xmlns="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xmlns="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xmlns="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  <p:pic>
        <p:nvPicPr>
          <p:cNvPr id="8" name="Рисунок 7" descr="Изображение выглядит как кисть&#10;&#10;Автоматически созданное описание">
            <a:extLst>
              <a:ext uri="{FF2B5EF4-FFF2-40B4-BE49-F238E27FC236}">
                <a16:creationId xmlns:a16="http://schemas.microsoft.com/office/drawing/2014/main" xmlns="" id="{B63AF7F3-104E-4DF4-A36F-8172E8757D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5196" y="2407793"/>
            <a:ext cx="3659180" cy="3686485"/>
          </a:xfrm>
          <a:prstGeom prst="rect">
            <a:avLst/>
          </a:prstGeom>
          <a:solidFill>
            <a:srgbClr val="EEEEEE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83" name="Picture 6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25445"/>
            <a:ext cx="11796712" cy="4837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18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аботы с АРМ назначения услуг КТ</a:t>
            </a:r>
            <a:b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поликлиники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6185255" y="4984477"/>
            <a:ext cx="4425935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6376474" y="508451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388134" y="5378924"/>
            <a:ext cx="39712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ке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еобходимо выбрать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Направления на компьютерную томографию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3272850" y="4984477"/>
            <a:ext cx="2426227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471307" y="514978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3489024" y="5497311"/>
            <a:ext cx="22100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вкладку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Медицинская организация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3404346" y="1418612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3425471" y="1548448"/>
            <a:ext cx="629116" cy="381866"/>
            <a:chOff x="6828490" y="596114"/>
            <a:chExt cx="839445" cy="518156"/>
          </a:xfrm>
        </p:grpSpPr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96596" y="596114"/>
              <a:ext cx="471339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Овал 27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1357128" y="288847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1440515" y="3001373"/>
            <a:ext cx="492613" cy="351740"/>
            <a:chOff x="1556324" y="4480607"/>
            <a:chExt cx="492613" cy="351740"/>
          </a:xfrm>
        </p:grpSpPr>
        <p:sp>
          <p:nvSpPr>
            <p:cNvPr id="30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85277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4580" y="3648419"/>
            <a:ext cx="6080919" cy="3074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56" y="1206127"/>
            <a:ext cx="11829143" cy="2285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370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7" y="399808"/>
            <a:ext cx="932338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результатов исследований и направлений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76356" y="3800630"/>
            <a:ext cx="4677424" cy="1979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07126" y="3911437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552262" y="4280769"/>
            <a:ext cx="43938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росмотра результатов исследований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вашим направлениям необходимо выбрать из списка выбрать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ужный путем двойного нажатия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выбранный документ.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981828" y="224850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3086249" y="2229988"/>
            <a:ext cx="571351" cy="577214"/>
            <a:chOff x="1215543" y="3858258"/>
            <a:chExt cx="571351" cy="577214"/>
          </a:xfrm>
        </p:grpSpPr>
        <p:sp>
          <p:nvSpPr>
            <p:cNvPr id="23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4287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7848600" y="5410594"/>
            <a:ext cx="2348913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имер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кумента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зультатов</a:t>
            </a:r>
          </a:p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следования 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95634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3" name="Picture 6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73" y="1221986"/>
            <a:ext cx="11842927" cy="331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5555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ового направления на КТ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0D89AA3B-3ECB-4C97-A7D7-9BB174362481}"/>
              </a:ext>
            </a:extLst>
          </p:cNvPr>
          <p:cNvSpPr/>
          <p:nvPr/>
        </p:nvSpPr>
        <p:spPr>
          <a:xfrm>
            <a:off x="2344301" y="2188071"/>
            <a:ext cx="3164959" cy="150226"/>
          </a:xfrm>
          <a:prstGeom prst="rect">
            <a:avLst/>
          </a:prstGeom>
          <a:solidFill>
            <a:srgbClr val="FFFFFF"/>
          </a:solidFill>
          <a:ln>
            <a:solidFill>
              <a:srgbClr val="FFF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5894123" y="3713532"/>
            <a:ext cx="5852100" cy="8383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024892" y="3719582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044710" y="4039340"/>
            <a:ext cx="55967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жимаем кнопку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Создать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019181" y="174757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2180621" y="1729058"/>
            <a:ext cx="442737" cy="577214"/>
            <a:chOff x="1215543" y="3858258"/>
            <a:chExt cx="442737" cy="577214"/>
          </a:xfrm>
        </p:grpSpPr>
        <p:sp>
          <p:nvSpPr>
            <p:cNvPr id="18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92088" y="4904333"/>
            <a:ext cx="11796712" cy="16869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22857" y="5209617"/>
            <a:ext cx="115331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данной форме отображается список уже созданных направлений в кабинет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мпьютерной томографии.</a:t>
            </a:r>
          </a:p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Если значок рядом с документом	         значит услуга уже назначена на определенное время.	 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305" name="Picture 6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073" y="5671282"/>
            <a:ext cx="962025" cy="740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9858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20" name="Picture 3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7" y="4999660"/>
            <a:ext cx="3232757" cy="1724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8" name="Picture 3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40038"/>
            <a:ext cx="11707812" cy="2379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509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поликлиники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ового направления на КТ.</a:t>
            </a:r>
          </a:p>
        </p:txBody>
      </p:sp>
      <p:sp>
        <p:nvSpPr>
          <p:cNvPr id="3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92088" y="3712531"/>
            <a:ext cx="5852100" cy="101726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22857" y="3718582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342675" y="4068077"/>
            <a:ext cx="5596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открытия нового документа необходимо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рать нужного пациента из списка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4645620" y="183896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4802940" y="1906030"/>
            <a:ext cx="399595" cy="476198"/>
            <a:chOff x="1581042" y="4562892"/>
            <a:chExt cx="399595" cy="476198"/>
          </a:xfrm>
        </p:grpSpPr>
        <p:sp>
          <p:nvSpPr>
            <p:cNvPr id="51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3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6247825" y="3619328"/>
            <a:ext cx="5852100" cy="198982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378594" y="3748319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398412" y="4068077"/>
            <a:ext cx="55967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алее необходимо выбрать нужную услугу К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списка доступных услуг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выбора пациента и услуги будет открыт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 планировщика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для выбора свободного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абинета и свободного времени данной услуги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9169410" y="177994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9326730" y="1847013"/>
            <a:ext cx="399595" cy="476198"/>
            <a:chOff x="1581042" y="4562892"/>
            <a:chExt cx="399595" cy="476198"/>
          </a:xfrm>
        </p:grpSpPr>
        <p:sp>
          <p:nvSpPr>
            <p:cNvPr id="58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4054585" y="5741356"/>
            <a:ext cx="8045339" cy="98329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4185355" y="5747407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4205172" y="6067165"/>
            <a:ext cx="7694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ыбора пациента, которого нет в списке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жмите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Показать все»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1901835" y="591953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2059155" y="5986603"/>
            <a:ext cx="399595" cy="476198"/>
            <a:chOff x="1581042" y="4562892"/>
            <a:chExt cx="399595" cy="476198"/>
          </a:xfrm>
        </p:grpSpPr>
        <p:sp>
          <p:nvSpPr>
            <p:cNvPr id="69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3254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48" name="Picture 3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7" y="1162050"/>
            <a:ext cx="10333037" cy="5572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449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70426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форма планировщика расписания кабинетов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3806935" y="3456536"/>
            <a:ext cx="8045339" cy="98329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937705" y="3462587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454261" y="502417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2615701" y="5005658"/>
            <a:ext cx="442737" cy="577214"/>
            <a:chOff x="1215543" y="3858258"/>
            <a:chExt cx="442737" cy="577214"/>
          </a:xfrm>
        </p:grpSpPr>
        <p:sp>
          <p:nvSpPr>
            <p:cNvPr id="43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Овал 46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6931011" y="4992154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7092451" y="4973633"/>
            <a:ext cx="442737" cy="577214"/>
            <a:chOff x="1215543" y="3858258"/>
            <a:chExt cx="442737" cy="577214"/>
          </a:xfrm>
        </p:grpSpPr>
        <p:sp>
          <p:nvSpPr>
            <p:cNvPr id="51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3" name="Овал 52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9658984" y="4992154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9820424" y="4973633"/>
            <a:ext cx="442737" cy="577214"/>
            <a:chOff x="1215543" y="3858258"/>
            <a:chExt cx="442737" cy="577214"/>
          </a:xfrm>
        </p:grpSpPr>
        <p:sp>
          <p:nvSpPr>
            <p:cNvPr id="55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4227181" y="3784294"/>
            <a:ext cx="7694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открытия формы планировщика вам будет предложены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вые свободные ячейки в расписании кабинетов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9079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27584"/>
            <a:ext cx="6024561" cy="3887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6864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70426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форма планировщика расписания кабинетов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6411914" y="1730430"/>
            <a:ext cx="5684836" cy="10235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542682" y="1736482"/>
            <a:ext cx="309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 светло-серый цвет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4437035" y="201082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4598475" y="1992308"/>
            <a:ext cx="442737" cy="577214"/>
            <a:chOff x="1215543" y="3858258"/>
            <a:chExt cx="442737" cy="577214"/>
          </a:xfrm>
        </p:grpSpPr>
        <p:sp>
          <p:nvSpPr>
            <p:cNvPr id="55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832160" y="2058189"/>
            <a:ext cx="5166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вободная ячейка расписания кабинета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обычных пациенто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5360960" y="482013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5522400" y="4801614"/>
            <a:ext cx="442737" cy="577214"/>
            <a:chOff x="1215543" y="3858258"/>
            <a:chExt cx="442737" cy="577214"/>
          </a:xfrm>
        </p:grpSpPr>
        <p:sp>
          <p:nvSpPr>
            <p:cNvPr id="17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Овал 18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879248" y="456064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3040688" y="4542127"/>
            <a:ext cx="442737" cy="577214"/>
            <a:chOff x="1215543" y="3858258"/>
            <a:chExt cx="442737" cy="577214"/>
          </a:xfrm>
        </p:grpSpPr>
        <p:sp>
          <p:nvSpPr>
            <p:cNvPr id="21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Овал 2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3570075" y="275394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3731515" y="2735426"/>
            <a:ext cx="442737" cy="577214"/>
            <a:chOff x="1215543" y="3858258"/>
            <a:chExt cx="442737" cy="577214"/>
          </a:xfrm>
        </p:grpSpPr>
        <p:sp>
          <p:nvSpPr>
            <p:cNvPr id="28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6411914" y="1153159"/>
            <a:ext cx="558653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Цветовая палитра формы планировщика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6411914" y="2986102"/>
            <a:ext cx="5684836" cy="10235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542682" y="2992154"/>
            <a:ext cx="309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емно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серый цвет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832160" y="3313861"/>
            <a:ext cx="5166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вободная ячейка расписания кабинета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ациентов, больных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6411914" y="4269028"/>
            <a:ext cx="5684836" cy="10235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542682" y="4275080"/>
            <a:ext cx="309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озовый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цвет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832160" y="4596787"/>
            <a:ext cx="5166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Ячейка расписания кабинета уже занятая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ациента для исследования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2029697" y="5650153"/>
            <a:ext cx="5684836" cy="10235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2160465" y="5656205"/>
            <a:ext cx="309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еленый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цвет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2449943" y="5977912"/>
            <a:ext cx="5166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Ячейка расписания кабинет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же выполненной услуги. 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3074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5225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70426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форма планировщика расписания кабинетов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326356" y="3038530"/>
            <a:ext cx="10395744" cy="117787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1457124" y="3108082"/>
            <a:ext cx="894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посмотреть результаты исследований для выполненной услуги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1746602" y="3522717"/>
            <a:ext cx="98103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ерите нужную выполненную услугу (ячейка зеленого цвета) и нажмите правую кнопку мыши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предложенного списка команд выберите нужную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58089"/>
            <a:ext cx="7953375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4292600"/>
            <a:ext cx="11163098" cy="855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326355" y="5279346"/>
            <a:ext cx="8541543" cy="140647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1457123" y="5348898"/>
            <a:ext cx="894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убрать ошибочно занятое расписание кабинета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1746601" y="5763533"/>
            <a:ext cx="77402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ерите нужную ячейку с заказанной услугой (ячейка розового цвета)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нажмите правую кнопку мыши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предложенного списка команд выберите нужную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64093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49" y="1271589"/>
            <a:ext cx="11807826" cy="2274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619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4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7" y="399808"/>
            <a:ext cx="890428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	</a:t>
            </a: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форма планировщика расписания кабинетов</a:t>
            </a:r>
          </a:p>
        </p:txBody>
      </p:sp>
      <p:sp>
        <p:nvSpPr>
          <p:cNvPr id="21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258868" y="3989514"/>
            <a:ext cx="4236932" cy="24398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89636" y="4068931"/>
            <a:ext cx="2065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 фильтр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409455" y="4438263"/>
            <a:ext cx="408634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ильтр выбора интересующего района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где должен располагаться кабинет КТ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ок доступных кабинетов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будет отфильтрован по району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где расположен кабине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всем близлежащим кабинетам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 пределах 2 районов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019934" y="273472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2181374" y="2716208"/>
            <a:ext cx="442737" cy="577214"/>
            <a:chOff x="1215543" y="3858258"/>
            <a:chExt cx="442737" cy="577214"/>
          </a:xfrm>
        </p:grpSpPr>
        <p:sp>
          <p:nvSpPr>
            <p:cNvPr id="28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Овал 29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5124397" y="2743476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5285837" y="2724955"/>
            <a:ext cx="442737" cy="577214"/>
            <a:chOff x="1215543" y="3858258"/>
            <a:chExt cx="442737" cy="577214"/>
          </a:xfrm>
        </p:grpSpPr>
        <p:sp>
          <p:nvSpPr>
            <p:cNvPr id="32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2474063" y="1270754"/>
            <a:ext cx="82034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форме планировщика существует фильтр для более точного</a:t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ыбора кабинета КТ из представленных изначально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4735618" y="3966684"/>
            <a:ext cx="3913082" cy="24398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4866386" y="4046101"/>
            <a:ext cx="2065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 фильтр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4886205" y="4415433"/>
            <a:ext cx="408634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ильтр выбора интересующей организации из предложенного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ка доступный мед. организаций, кабинеты которых представлены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данной форме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и этом фильтр выбор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районам сбрасывается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8801100" y="3966683"/>
            <a:ext cx="3152326" cy="24398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8931869" y="4046100"/>
            <a:ext cx="1536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 фильтр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8951688" y="4415432"/>
            <a:ext cx="304028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ильтр отбора кабинетов по выставленным видам помощи, с которыми работают данные кабинеты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выбор существуе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четыре вида, представленных выше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8648700" y="263833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8810140" y="2619817"/>
            <a:ext cx="442737" cy="577214"/>
            <a:chOff x="1215543" y="3858258"/>
            <a:chExt cx="442737" cy="577214"/>
          </a:xfrm>
        </p:grpSpPr>
        <p:sp>
          <p:nvSpPr>
            <p:cNvPr id="49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74650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75" y="1252630"/>
            <a:ext cx="11816679" cy="2502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60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70426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ового направления на КТ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92088" y="3971925"/>
            <a:ext cx="8204090" cy="24003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22858" y="4082732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12334" y="4461589"/>
            <a:ext cx="769427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выбора нужного времени выполнения услуги, окно планировщик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будет автоматически закрыто и вам будет показана заново форма документа «Направление на КТ», где будет выведены все данные из выбранной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ячейки расписания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звание кабинета, мед. организация, которой принадлежит данный кабинет, дата выполнения услуги, вид планирования, время выполнения услуги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 минутах и тип услуги (экстренный или плановый).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7477759" y="304860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7639199" y="3030088"/>
            <a:ext cx="442737" cy="577214"/>
            <a:chOff x="1215543" y="3858258"/>
            <a:chExt cx="442737" cy="577214"/>
          </a:xfrm>
        </p:grpSpPr>
        <p:sp>
          <p:nvSpPr>
            <p:cNvPr id="23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8531335" y="3979449"/>
            <a:ext cx="3390120" cy="84020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8662104" y="3985500"/>
            <a:ext cx="1158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9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8951580" y="4307207"/>
            <a:ext cx="3242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ожно закрыть документ.</a:t>
            </a: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11217275" y="159391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11277237" y="1606587"/>
            <a:ext cx="434580" cy="546019"/>
            <a:chOff x="1358185" y="3889453"/>
            <a:chExt cx="434580" cy="546019"/>
          </a:xfrm>
        </p:grpSpPr>
        <p:sp>
          <p:nvSpPr>
            <p:cNvPr id="32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13411281">
              <a:off x="1615920" y="3889453"/>
              <a:ext cx="176845" cy="301917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1088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67576"/>
            <a:ext cx="11780837" cy="2778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991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7" y="399808"/>
            <a:ext cx="932338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результатов исследований и направлений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711434" y="4280187"/>
            <a:ext cx="7804040" cy="17361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1842204" y="4390994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2131680" y="4769851"/>
            <a:ext cx="76942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росмотра уже созданных направлений и их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езультатов необходимо выбрать вкладку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Медицинская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рганизация»</a:t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из списка выбрать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Результаты исследования КТ»</a:t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ли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«Направления на компьютерную томографию»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924809" y="224850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3086249" y="2229988"/>
            <a:ext cx="647551" cy="577214"/>
            <a:chOff x="1215543" y="3858258"/>
            <a:chExt cx="647551" cy="577214"/>
          </a:xfrm>
        </p:grpSpPr>
        <p:sp>
          <p:nvSpPr>
            <p:cNvPr id="23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5049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1000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406</TotalTime>
  <Words>323</Words>
  <Application>Microsoft Office PowerPoint</Application>
  <PresentationFormat>Произвольный</PresentationFormat>
  <Paragraphs>84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Arial</vt:lpstr>
      <vt:lpstr>Montserrat</vt:lpstr>
      <vt:lpstr>Tahoma</vt:lpstr>
      <vt:lpstr>Helvetica Neue</vt:lpstr>
      <vt:lpstr>HeliosCondC</vt:lpstr>
      <vt:lpstr>Calibri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Vetrov_K_V</cp:lastModifiedBy>
  <cp:revision>949</cp:revision>
  <cp:lastPrinted>2020-04-17T06:55:34Z</cp:lastPrinted>
  <dcterms:created xsi:type="dcterms:W3CDTF">2019-06-12T19:36:33Z</dcterms:created>
  <dcterms:modified xsi:type="dcterms:W3CDTF">2020-11-26T12:38:41Z</dcterms:modified>
</cp:coreProperties>
</file>